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7"/>
  </p:notesMasterIdLst>
  <p:sldIdLst>
    <p:sldId id="256" r:id="rId2"/>
    <p:sldId id="269" r:id="rId3"/>
    <p:sldId id="258" r:id="rId4"/>
    <p:sldId id="270" r:id="rId5"/>
    <p:sldId id="261" r:id="rId6"/>
  </p:sldIdLst>
  <p:sldSz cx="12192000" cy="6858000"/>
  <p:notesSz cx="6858000" cy="9144000"/>
  <p:custDataLst>
    <p:tags r:id="rId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1F00"/>
    <a:srgbClr val="472906"/>
    <a:srgbClr val="FFDF8E"/>
    <a:srgbClr val="EFE6D5"/>
    <a:srgbClr val="FFEC98"/>
    <a:srgbClr val="6C4300"/>
    <a:srgbClr val="3B2200"/>
    <a:srgbClr val="6E645E"/>
    <a:srgbClr val="353D42"/>
    <a:srgbClr val="3B3D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6005" autoAdjust="0"/>
  </p:normalViewPr>
  <p:slideViewPr>
    <p:cSldViewPr snapToGrid="0">
      <p:cViewPr varScale="1">
        <p:scale>
          <a:sx n="94" d="100"/>
          <a:sy n="94" d="100"/>
        </p:scale>
        <p:origin x="258" y="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/4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54676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7EAE3332-0659-446F-B8E5-FD98C48726A9}"/>
              </a:ext>
            </a:extLst>
          </p:cNvPr>
          <p:cNvSpPr/>
          <p:nvPr userDrawn="1"/>
        </p:nvSpPr>
        <p:spPr>
          <a:xfrm>
            <a:off x="948706" y="1582993"/>
            <a:ext cx="6420464" cy="5299587"/>
          </a:xfrm>
          <a:custGeom>
            <a:avLst/>
            <a:gdLst>
              <a:gd name="connsiteX0" fmla="*/ 4768645 w 6420464"/>
              <a:gd name="connsiteY0" fmla="*/ 0 h 5299587"/>
              <a:gd name="connsiteX1" fmla="*/ 0 w 6420464"/>
              <a:gd name="connsiteY1" fmla="*/ 5299587 h 5299587"/>
              <a:gd name="connsiteX2" fmla="*/ 3008671 w 6420464"/>
              <a:gd name="connsiteY2" fmla="*/ 5299587 h 5299587"/>
              <a:gd name="connsiteX3" fmla="*/ 6420464 w 6420464"/>
              <a:gd name="connsiteY3" fmla="*/ 1425677 h 5299587"/>
              <a:gd name="connsiteX4" fmla="*/ 4768645 w 6420464"/>
              <a:gd name="connsiteY4" fmla="*/ 0 h 5299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20464" h="5299587">
                <a:moveTo>
                  <a:pt x="4768645" y="0"/>
                </a:moveTo>
                <a:lnTo>
                  <a:pt x="0" y="5299587"/>
                </a:lnTo>
                <a:lnTo>
                  <a:pt x="3008671" y="5299587"/>
                </a:lnTo>
                <a:lnTo>
                  <a:pt x="6420464" y="1425677"/>
                </a:lnTo>
                <a:lnTo>
                  <a:pt x="4768645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8D3D1F8B-F465-41DC-A5D4-6F72A70DC5B9}"/>
              </a:ext>
            </a:extLst>
          </p:cNvPr>
          <p:cNvSpPr/>
          <p:nvPr userDrawn="1"/>
        </p:nvSpPr>
        <p:spPr>
          <a:xfrm>
            <a:off x="0" y="1842448"/>
            <a:ext cx="12182168" cy="32072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0D77DA1D-02AA-4926-B081-EA2C2D68A714}"/>
              </a:ext>
            </a:extLst>
          </p:cNvPr>
          <p:cNvSpPr/>
          <p:nvPr userDrawn="1"/>
        </p:nvSpPr>
        <p:spPr>
          <a:xfrm>
            <a:off x="6390968" y="1809135"/>
            <a:ext cx="5791200" cy="3244646"/>
          </a:xfrm>
          <a:custGeom>
            <a:avLst/>
            <a:gdLst>
              <a:gd name="connsiteX0" fmla="*/ 0 w 5791200"/>
              <a:gd name="connsiteY0" fmla="*/ 0 h 3244646"/>
              <a:gd name="connsiteX1" fmla="*/ 2094271 w 5791200"/>
              <a:gd name="connsiteY1" fmla="*/ 3244646 h 3244646"/>
              <a:gd name="connsiteX2" fmla="*/ 5791200 w 5791200"/>
              <a:gd name="connsiteY2" fmla="*/ 3244646 h 3244646"/>
              <a:gd name="connsiteX3" fmla="*/ 5791200 w 5791200"/>
              <a:gd name="connsiteY3" fmla="*/ 29497 h 3244646"/>
              <a:gd name="connsiteX4" fmla="*/ 0 w 5791200"/>
              <a:gd name="connsiteY4" fmla="*/ 0 h 3244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91200" h="3244646">
                <a:moveTo>
                  <a:pt x="0" y="0"/>
                </a:moveTo>
                <a:lnTo>
                  <a:pt x="2094271" y="3244646"/>
                </a:lnTo>
                <a:lnTo>
                  <a:pt x="5791200" y="3244646"/>
                </a:lnTo>
                <a:lnTo>
                  <a:pt x="5791200" y="29497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rcRect/>
            <a:stretch>
              <a:fillRect l="-254" t="-7016" r="-1024" b="-667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69924" y="3353894"/>
            <a:ext cx="5106035" cy="487344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5" y="2016626"/>
            <a:ext cx="5106035" cy="1320934"/>
          </a:xfrm>
        </p:spPr>
        <p:txBody>
          <a:bodyPr anchor="ctr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4170836"/>
            <a:ext cx="510603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4479444"/>
            <a:ext cx="510603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62E6307F-AA21-4F45-A4D3-514155BD9882}"/>
              </a:ext>
            </a:extLst>
          </p:cNvPr>
          <p:cNvSpPr/>
          <p:nvPr userDrawn="1"/>
        </p:nvSpPr>
        <p:spPr>
          <a:xfrm>
            <a:off x="5929016" y="1593449"/>
            <a:ext cx="2757677" cy="3513187"/>
          </a:xfrm>
          <a:custGeom>
            <a:avLst/>
            <a:gdLst>
              <a:gd name="connsiteX0" fmla="*/ 0 w 2570585"/>
              <a:gd name="connsiteY0" fmla="*/ 0 h 3274838"/>
              <a:gd name="connsiteX1" fmla="*/ 743836 w 2570585"/>
              <a:gd name="connsiteY1" fmla="*/ 0 h 3274838"/>
              <a:gd name="connsiteX2" fmla="*/ 2521985 w 2570585"/>
              <a:gd name="connsiteY2" fmla="*/ 2793367 h 3274838"/>
              <a:gd name="connsiteX3" fmla="*/ 2425413 w 2570585"/>
              <a:gd name="connsiteY3" fmla="*/ 3225904 h 3274838"/>
              <a:gd name="connsiteX4" fmla="*/ 1992876 w 2570585"/>
              <a:gd name="connsiteY4" fmla="*/ 3129331 h 3274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0585" h="3274838">
                <a:moveTo>
                  <a:pt x="0" y="0"/>
                </a:moveTo>
                <a:lnTo>
                  <a:pt x="743836" y="0"/>
                </a:lnTo>
                <a:lnTo>
                  <a:pt x="2521985" y="2793367"/>
                </a:lnTo>
                <a:cubicBezTo>
                  <a:pt x="2614477" y="2938906"/>
                  <a:pt x="2570952" y="3132051"/>
                  <a:pt x="2425413" y="3225904"/>
                </a:cubicBezTo>
                <a:cubicBezTo>
                  <a:pt x="2279874" y="3318396"/>
                  <a:pt x="2085368" y="3276230"/>
                  <a:pt x="1992876" y="3129331"/>
                </a:cubicBezTo>
                <a:close/>
              </a:path>
            </a:pathLst>
          </a:custGeom>
          <a:solidFill>
            <a:schemeClr val="bg1"/>
          </a:solidFill>
          <a:ln w="13557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481A0B39-1CC0-4EC2-ADB5-EB3399B2FA5A}"/>
              </a:ext>
            </a:extLst>
          </p:cNvPr>
          <p:cNvSpPr/>
          <p:nvPr userDrawn="1"/>
        </p:nvSpPr>
        <p:spPr>
          <a:xfrm>
            <a:off x="5720725" y="1587797"/>
            <a:ext cx="2889839" cy="3681557"/>
          </a:xfrm>
          <a:custGeom>
            <a:avLst/>
            <a:gdLst>
              <a:gd name="connsiteX0" fmla="*/ 0 w 2570585"/>
              <a:gd name="connsiteY0" fmla="*/ 0 h 3274838"/>
              <a:gd name="connsiteX1" fmla="*/ 743836 w 2570585"/>
              <a:gd name="connsiteY1" fmla="*/ 0 h 3274838"/>
              <a:gd name="connsiteX2" fmla="*/ 2521985 w 2570585"/>
              <a:gd name="connsiteY2" fmla="*/ 2793367 h 3274838"/>
              <a:gd name="connsiteX3" fmla="*/ 2425413 w 2570585"/>
              <a:gd name="connsiteY3" fmla="*/ 3225904 h 3274838"/>
              <a:gd name="connsiteX4" fmla="*/ 1992876 w 2570585"/>
              <a:gd name="connsiteY4" fmla="*/ 3129331 h 3274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0585" h="3274838">
                <a:moveTo>
                  <a:pt x="0" y="0"/>
                </a:moveTo>
                <a:lnTo>
                  <a:pt x="743836" y="0"/>
                </a:lnTo>
                <a:lnTo>
                  <a:pt x="2521985" y="2793367"/>
                </a:lnTo>
                <a:cubicBezTo>
                  <a:pt x="2614477" y="2938906"/>
                  <a:pt x="2570952" y="3132051"/>
                  <a:pt x="2425413" y="3225904"/>
                </a:cubicBezTo>
                <a:cubicBezTo>
                  <a:pt x="2279874" y="3318396"/>
                  <a:pt x="2085368" y="3276230"/>
                  <a:pt x="1992876" y="3129331"/>
                </a:cubicBezTo>
                <a:close/>
              </a:path>
            </a:pathLst>
          </a:custGeom>
          <a:solidFill>
            <a:schemeClr val="accent3"/>
          </a:solidFill>
          <a:ln w="13557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C679D212-8923-42FA-BDD7-E4C05DEFE906}"/>
              </a:ext>
            </a:extLst>
          </p:cNvPr>
          <p:cNvSpPr/>
          <p:nvPr userDrawn="1"/>
        </p:nvSpPr>
        <p:spPr>
          <a:xfrm>
            <a:off x="0" y="1582993"/>
            <a:ext cx="6420464" cy="5299587"/>
          </a:xfrm>
          <a:custGeom>
            <a:avLst/>
            <a:gdLst>
              <a:gd name="connsiteX0" fmla="*/ 4768645 w 6420464"/>
              <a:gd name="connsiteY0" fmla="*/ 0 h 5299587"/>
              <a:gd name="connsiteX1" fmla="*/ 0 w 6420464"/>
              <a:gd name="connsiteY1" fmla="*/ 5299587 h 5299587"/>
              <a:gd name="connsiteX2" fmla="*/ 3008671 w 6420464"/>
              <a:gd name="connsiteY2" fmla="*/ 5299587 h 5299587"/>
              <a:gd name="connsiteX3" fmla="*/ 6420464 w 6420464"/>
              <a:gd name="connsiteY3" fmla="*/ 1425677 h 5299587"/>
              <a:gd name="connsiteX4" fmla="*/ 4768645 w 6420464"/>
              <a:gd name="connsiteY4" fmla="*/ 0 h 5299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20464" h="5299587">
                <a:moveTo>
                  <a:pt x="4768645" y="0"/>
                </a:moveTo>
                <a:lnTo>
                  <a:pt x="0" y="5299587"/>
                </a:lnTo>
                <a:lnTo>
                  <a:pt x="3008671" y="5299587"/>
                </a:lnTo>
                <a:lnTo>
                  <a:pt x="6420464" y="1425677"/>
                </a:lnTo>
                <a:lnTo>
                  <a:pt x="4768645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: 圆顶角 2">
            <a:extLst>
              <a:ext uri="{FF2B5EF4-FFF2-40B4-BE49-F238E27FC236}">
                <a16:creationId xmlns:a16="http://schemas.microsoft.com/office/drawing/2014/main" id="{659C1355-3198-4111-896E-23B7A16B6D43}"/>
              </a:ext>
            </a:extLst>
          </p:cNvPr>
          <p:cNvSpPr/>
          <p:nvPr userDrawn="1"/>
        </p:nvSpPr>
        <p:spPr>
          <a:xfrm rot="5400000">
            <a:off x="3098040" y="-1255591"/>
            <a:ext cx="3207225" cy="9403309"/>
          </a:xfrm>
          <a:prstGeom prst="round2SameRect">
            <a:avLst>
              <a:gd name="adj1" fmla="val 50000"/>
              <a:gd name="adj2" fmla="val 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4E3A482B-2FA8-44ED-B2F5-2A9590532F36}"/>
              </a:ext>
            </a:extLst>
          </p:cNvPr>
          <p:cNvSpPr/>
          <p:nvPr userDrawn="1"/>
        </p:nvSpPr>
        <p:spPr>
          <a:xfrm>
            <a:off x="4980310" y="1593449"/>
            <a:ext cx="2757677" cy="3513187"/>
          </a:xfrm>
          <a:custGeom>
            <a:avLst/>
            <a:gdLst>
              <a:gd name="connsiteX0" fmla="*/ 0 w 2570585"/>
              <a:gd name="connsiteY0" fmla="*/ 0 h 3274838"/>
              <a:gd name="connsiteX1" fmla="*/ 743836 w 2570585"/>
              <a:gd name="connsiteY1" fmla="*/ 0 h 3274838"/>
              <a:gd name="connsiteX2" fmla="*/ 2521985 w 2570585"/>
              <a:gd name="connsiteY2" fmla="*/ 2793367 h 3274838"/>
              <a:gd name="connsiteX3" fmla="*/ 2425413 w 2570585"/>
              <a:gd name="connsiteY3" fmla="*/ 3225904 h 3274838"/>
              <a:gd name="connsiteX4" fmla="*/ 1992876 w 2570585"/>
              <a:gd name="connsiteY4" fmla="*/ 3129331 h 3274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0585" h="3274838">
                <a:moveTo>
                  <a:pt x="0" y="0"/>
                </a:moveTo>
                <a:lnTo>
                  <a:pt x="743836" y="0"/>
                </a:lnTo>
                <a:lnTo>
                  <a:pt x="2521985" y="2793367"/>
                </a:lnTo>
                <a:cubicBezTo>
                  <a:pt x="2614477" y="2938906"/>
                  <a:pt x="2570952" y="3132051"/>
                  <a:pt x="2425413" y="3225904"/>
                </a:cubicBezTo>
                <a:cubicBezTo>
                  <a:pt x="2279874" y="3318396"/>
                  <a:pt x="2085368" y="3276230"/>
                  <a:pt x="1992876" y="3129331"/>
                </a:cubicBezTo>
                <a:close/>
              </a:path>
            </a:pathLst>
          </a:custGeom>
          <a:solidFill>
            <a:schemeClr val="bg1"/>
          </a:solidFill>
          <a:ln w="13557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473A3391-1F6F-402A-AE70-95B73DC19495}"/>
              </a:ext>
            </a:extLst>
          </p:cNvPr>
          <p:cNvSpPr/>
          <p:nvPr userDrawn="1"/>
        </p:nvSpPr>
        <p:spPr>
          <a:xfrm>
            <a:off x="4772019" y="1587797"/>
            <a:ext cx="2889839" cy="3681557"/>
          </a:xfrm>
          <a:custGeom>
            <a:avLst/>
            <a:gdLst>
              <a:gd name="connsiteX0" fmla="*/ 0 w 2570585"/>
              <a:gd name="connsiteY0" fmla="*/ 0 h 3274838"/>
              <a:gd name="connsiteX1" fmla="*/ 743836 w 2570585"/>
              <a:gd name="connsiteY1" fmla="*/ 0 h 3274838"/>
              <a:gd name="connsiteX2" fmla="*/ 2521985 w 2570585"/>
              <a:gd name="connsiteY2" fmla="*/ 2793367 h 3274838"/>
              <a:gd name="connsiteX3" fmla="*/ 2425413 w 2570585"/>
              <a:gd name="connsiteY3" fmla="*/ 3225904 h 3274838"/>
              <a:gd name="connsiteX4" fmla="*/ 1992876 w 2570585"/>
              <a:gd name="connsiteY4" fmla="*/ 3129331 h 3274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0585" h="3274838">
                <a:moveTo>
                  <a:pt x="0" y="0"/>
                </a:moveTo>
                <a:lnTo>
                  <a:pt x="743836" y="0"/>
                </a:lnTo>
                <a:lnTo>
                  <a:pt x="2521985" y="2793367"/>
                </a:lnTo>
                <a:cubicBezTo>
                  <a:pt x="2614477" y="2938906"/>
                  <a:pt x="2570952" y="3132051"/>
                  <a:pt x="2425413" y="3225904"/>
                </a:cubicBezTo>
                <a:cubicBezTo>
                  <a:pt x="2279874" y="3318396"/>
                  <a:pt x="2085368" y="3276230"/>
                  <a:pt x="1992876" y="3129331"/>
                </a:cubicBezTo>
                <a:close/>
              </a:path>
            </a:pathLst>
          </a:custGeom>
          <a:solidFill>
            <a:schemeClr val="accent3"/>
          </a:solidFill>
          <a:ln w="13557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1064799" y="2533650"/>
            <a:ext cx="4500381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1064799" y="3428574"/>
            <a:ext cx="4498718" cy="81824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3/4/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3/4/4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D990CCF6-77B6-4933-BC4F-42F4EA0073E9}"/>
              </a:ext>
            </a:extLst>
          </p:cNvPr>
          <p:cNvSpPr/>
          <p:nvPr userDrawn="1"/>
        </p:nvSpPr>
        <p:spPr>
          <a:xfrm>
            <a:off x="0" y="1582993"/>
            <a:ext cx="6420464" cy="5299587"/>
          </a:xfrm>
          <a:custGeom>
            <a:avLst/>
            <a:gdLst>
              <a:gd name="connsiteX0" fmla="*/ 4768645 w 6420464"/>
              <a:gd name="connsiteY0" fmla="*/ 0 h 5299587"/>
              <a:gd name="connsiteX1" fmla="*/ 0 w 6420464"/>
              <a:gd name="connsiteY1" fmla="*/ 5299587 h 5299587"/>
              <a:gd name="connsiteX2" fmla="*/ 3008671 w 6420464"/>
              <a:gd name="connsiteY2" fmla="*/ 5299587 h 5299587"/>
              <a:gd name="connsiteX3" fmla="*/ 6420464 w 6420464"/>
              <a:gd name="connsiteY3" fmla="*/ 1425677 h 5299587"/>
              <a:gd name="connsiteX4" fmla="*/ 4768645 w 6420464"/>
              <a:gd name="connsiteY4" fmla="*/ 0 h 5299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20464" h="5299587">
                <a:moveTo>
                  <a:pt x="4768645" y="0"/>
                </a:moveTo>
                <a:lnTo>
                  <a:pt x="0" y="5299587"/>
                </a:lnTo>
                <a:lnTo>
                  <a:pt x="3008671" y="5299587"/>
                </a:lnTo>
                <a:lnTo>
                  <a:pt x="6420464" y="1425677"/>
                </a:lnTo>
                <a:lnTo>
                  <a:pt x="4768645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矩形: 圆顶角 11">
            <a:extLst>
              <a:ext uri="{FF2B5EF4-FFF2-40B4-BE49-F238E27FC236}">
                <a16:creationId xmlns:a16="http://schemas.microsoft.com/office/drawing/2014/main" id="{EAD95933-59BE-4D78-8CAA-38A04885A216}"/>
              </a:ext>
            </a:extLst>
          </p:cNvPr>
          <p:cNvSpPr/>
          <p:nvPr userDrawn="1"/>
        </p:nvSpPr>
        <p:spPr>
          <a:xfrm rot="5400000">
            <a:off x="3098040" y="-1255591"/>
            <a:ext cx="3207225" cy="9403309"/>
          </a:xfrm>
          <a:prstGeom prst="round2SameRect">
            <a:avLst>
              <a:gd name="adj1" fmla="val 50000"/>
              <a:gd name="adj2" fmla="val 0"/>
            </a:avLst>
          </a:prstGeom>
          <a:blipFill>
            <a:blip r:embed="rId2"/>
            <a:srcRect/>
            <a:stretch>
              <a:fillRect l="-58975" t="-871" r="-25701" b="6125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458DC237-7358-45EF-9C00-5D4C0CB7B83F}"/>
              </a:ext>
            </a:extLst>
          </p:cNvPr>
          <p:cNvSpPr/>
          <p:nvPr userDrawn="1"/>
        </p:nvSpPr>
        <p:spPr>
          <a:xfrm>
            <a:off x="-2" y="1842452"/>
            <a:ext cx="7315202" cy="3248165"/>
          </a:xfrm>
          <a:custGeom>
            <a:avLst/>
            <a:gdLst>
              <a:gd name="connsiteX0" fmla="*/ 0 w 7301552"/>
              <a:gd name="connsiteY0" fmla="*/ 0 h 3248165"/>
              <a:gd name="connsiteX1" fmla="*/ 5821583 w 7301552"/>
              <a:gd name="connsiteY1" fmla="*/ 0 h 3248165"/>
              <a:gd name="connsiteX2" fmla="*/ 7301552 w 7301552"/>
              <a:gd name="connsiteY2" fmla="*/ 3248165 h 3248165"/>
              <a:gd name="connsiteX3" fmla="*/ 0 w 7301552"/>
              <a:gd name="connsiteY3" fmla="*/ 3248165 h 3248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01552" h="3248165">
                <a:moveTo>
                  <a:pt x="0" y="0"/>
                </a:moveTo>
                <a:lnTo>
                  <a:pt x="5821583" y="0"/>
                </a:lnTo>
                <a:lnTo>
                  <a:pt x="7301552" y="3248165"/>
                </a:lnTo>
                <a:lnTo>
                  <a:pt x="0" y="324816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8A753A9F-CA8F-4470-B4B2-CBD183241F16}"/>
              </a:ext>
            </a:extLst>
          </p:cNvPr>
          <p:cNvSpPr/>
          <p:nvPr userDrawn="1"/>
        </p:nvSpPr>
        <p:spPr>
          <a:xfrm>
            <a:off x="4980310" y="1593449"/>
            <a:ext cx="2757677" cy="3513187"/>
          </a:xfrm>
          <a:custGeom>
            <a:avLst/>
            <a:gdLst>
              <a:gd name="connsiteX0" fmla="*/ 0 w 2570585"/>
              <a:gd name="connsiteY0" fmla="*/ 0 h 3274838"/>
              <a:gd name="connsiteX1" fmla="*/ 743836 w 2570585"/>
              <a:gd name="connsiteY1" fmla="*/ 0 h 3274838"/>
              <a:gd name="connsiteX2" fmla="*/ 2521985 w 2570585"/>
              <a:gd name="connsiteY2" fmla="*/ 2793367 h 3274838"/>
              <a:gd name="connsiteX3" fmla="*/ 2425413 w 2570585"/>
              <a:gd name="connsiteY3" fmla="*/ 3225904 h 3274838"/>
              <a:gd name="connsiteX4" fmla="*/ 1992876 w 2570585"/>
              <a:gd name="connsiteY4" fmla="*/ 3129331 h 3274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0585" h="3274838">
                <a:moveTo>
                  <a:pt x="0" y="0"/>
                </a:moveTo>
                <a:lnTo>
                  <a:pt x="743836" y="0"/>
                </a:lnTo>
                <a:lnTo>
                  <a:pt x="2521985" y="2793367"/>
                </a:lnTo>
                <a:cubicBezTo>
                  <a:pt x="2614477" y="2938906"/>
                  <a:pt x="2570952" y="3132051"/>
                  <a:pt x="2425413" y="3225904"/>
                </a:cubicBezTo>
                <a:cubicBezTo>
                  <a:pt x="2279874" y="3318396"/>
                  <a:pt x="2085368" y="3276230"/>
                  <a:pt x="1992876" y="3129331"/>
                </a:cubicBezTo>
                <a:close/>
              </a:path>
            </a:pathLst>
          </a:custGeom>
          <a:solidFill>
            <a:schemeClr val="bg1"/>
          </a:solidFill>
          <a:ln w="13557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9431866D-483D-4804-A0BB-316F3EFDB062}"/>
              </a:ext>
            </a:extLst>
          </p:cNvPr>
          <p:cNvSpPr/>
          <p:nvPr userDrawn="1"/>
        </p:nvSpPr>
        <p:spPr>
          <a:xfrm>
            <a:off x="4772019" y="1587797"/>
            <a:ext cx="2889839" cy="3681557"/>
          </a:xfrm>
          <a:custGeom>
            <a:avLst/>
            <a:gdLst>
              <a:gd name="connsiteX0" fmla="*/ 0 w 2570585"/>
              <a:gd name="connsiteY0" fmla="*/ 0 h 3274838"/>
              <a:gd name="connsiteX1" fmla="*/ 743836 w 2570585"/>
              <a:gd name="connsiteY1" fmla="*/ 0 h 3274838"/>
              <a:gd name="connsiteX2" fmla="*/ 2521985 w 2570585"/>
              <a:gd name="connsiteY2" fmla="*/ 2793367 h 3274838"/>
              <a:gd name="connsiteX3" fmla="*/ 2425413 w 2570585"/>
              <a:gd name="connsiteY3" fmla="*/ 3225904 h 3274838"/>
              <a:gd name="connsiteX4" fmla="*/ 1992876 w 2570585"/>
              <a:gd name="connsiteY4" fmla="*/ 3129331 h 3274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0585" h="3274838">
                <a:moveTo>
                  <a:pt x="0" y="0"/>
                </a:moveTo>
                <a:lnTo>
                  <a:pt x="743836" y="0"/>
                </a:lnTo>
                <a:lnTo>
                  <a:pt x="2521985" y="2793367"/>
                </a:lnTo>
                <a:cubicBezTo>
                  <a:pt x="2614477" y="2938906"/>
                  <a:pt x="2570952" y="3132051"/>
                  <a:pt x="2425413" y="3225904"/>
                </a:cubicBezTo>
                <a:cubicBezTo>
                  <a:pt x="2279874" y="3318396"/>
                  <a:pt x="2085368" y="3276230"/>
                  <a:pt x="1992876" y="3129331"/>
                </a:cubicBezTo>
                <a:close/>
              </a:path>
            </a:pathLst>
          </a:custGeom>
          <a:solidFill>
            <a:schemeClr val="accent3"/>
          </a:solidFill>
          <a:ln w="13557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790106" y="2172516"/>
            <a:ext cx="4648308" cy="1389082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90106" y="4082012"/>
            <a:ext cx="464830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0106" y="3785741"/>
            <a:ext cx="464830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3/4/4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5" Type="http://schemas.openxmlformats.org/officeDocument/2006/relationships/hyperlink" Target="islide-powerpoint.com/en" TargetMode="Externa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islide-powerpoint.com/" TargetMode="Externa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4.xml"/><Relationship Id="rId6" Type="http://schemas.openxmlformats.org/officeDocument/2006/relationships/hyperlink" Target="islide-powerpoint.com/en" TargetMode="Externa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altLang="zh-CN" dirty="0"/>
              <a:t>Subtitle here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iSlide</a:t>
            </a:r>
            <a:r>
              <a:rPr lang="en-US" altLang="zh-CN" baseline="30000" dirty="0"/>
              <a:t>®</a:t>
            </a:r>
            <a:r>
              <a:rPr lang="en-US" altLang="zh-CN" dirty="0"/>
              <a:t> PowerPoint standard templat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669924" y="4170836"/>
            <a:ext cx="6127115" cy="296271"/>
          </a:xfrm>
        </p:spPr>
        <p:txBody>
          <a:bodyPr/>
          <a:lstStyle/>
          <a:p>
            <a:r>
              <a:rPr lang="en-US" altLang="zh-CN" dirty="0"/>
              <a:t>Speaker name and title ( Example: CloudEurope.NL / Ben Oostdam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>
                <a:hlinkClick r:id="rId5" action="ppaction://hlinkfile"/>
              </a:rPr>
              <a:t>www.islide-powerpoint.com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Subtitle Here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…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…</a:t>
                </a: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en-US" altLang="zh-CN" b="0" dirty="0">
                    <a:latin typeface="+mn-lt"/>
                    <a:ea typeface="+mn-ea"/>
                    <a:sym typeface="+mn-lt"/>
                  </a:rPr>
                  <a:t>…</a:t>
                </a: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Supporting text here.</a:t>
            </a:r>
          </a:p>
          <a:p>
            <a:pPr lvl="0"/>
            <a:r>
              <a:rPr lang="en-US" altLang="zh-CN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671086" y="2947786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Use "Title Only" Layout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bg1">
                    <a:lumMod val="75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slide-powerpoint.com</a:t>
            </a:r>
            <a:r>
              <a:rPr lang="en-US" altLang="zh-CN" dirty="0">
                <a:solidFill>
                  <a:schemeClr val="bg1">
                    <a:lumMod val="75000"/>
                  </a:schemeClr>
                </a:solidFill>
              </a:rPr>
              <a:t> </a:t>
            </a:r>
            <a:endParaRPr lang="zh-CN" altLang="en-US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142370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/>
              <a:t>Thanks</a:t>
            </a:r>
            <a:br>
              <a:rPr lang="en-US" altLang="zh-CN"/>
            </a:br>
            <a:r>
              <a:rPr lang="en-US" altLang="zh-CN"/>
              <a:t>And Your Slogan Here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>
                <a:hlinkClick r:id="rId6" action="ppaction://hlinkfile"/>
              </a:rPr>
              <a:t>www.islide-powerpoint.com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20ef5fd7-8b07-4d70-b3e4-927a59dca9c5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FFC500"/>
      </a:accent1>
      <a:accent2>
        <a:srgbClr val="462804"/>
      </a:accent2>
      <a:accent3>
        <a:srgbClr val="FFDD8C"/>
      </a:accent3>
      <a:accent4>
        <a:srgbClr val="888785"/>
      </a:accent4>
      <a:accent5>
        <a:srgbClr val="71716F"/>
      </a:accent5>
      <a:accent6>
        <a:srgbClr val="555353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C500"/>
    </a:accent1>
    <a:accent2>
      <a:srgbClr val="462804"/>
    </a:accent2>
    <a:accent3>
      <a:srgbClr val="FFDD8C"/>
    </a:accent3>
    <a:accent4>
      <a:srgbClr val="888785"/>
    </a:accent4>
    <a:accent5>
      <a:srgbClr val="71716F"/>
    </a:accent5>
    <a:accent6>
      <a:srgbClr val="555353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C500"/>
    </a:accent1>
    <a:accent2>
      <a:srgbClr val="462804"/>
    </a:accent2>
    <a:accent3>
      <a:srgbClr val="FFDD8C"/>
    </a:accent3>
    <a:accent4>
      <a:srgbClr val="888785"/>
    </a:accent4>
    <a:accent5>
      <a:srgbClr val="71716F"/>
    </a:accent5>
    <a:accent6>
      <a:srgbClr val="555353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C500"/>
    </a:accent1>
    <a:accent2>
      <a:srgbClr val="462804"/>
    </a:accent2>
    <a:accent3>
      <a:srgbClr val="FFDD8C"/>
    </a:accent3>
    <a:accent4>
      <a:srgbClr val="888785"/>
    </a:accent4>
    <a:accent5>
      <a:srgbClr val="71716F"/>
    </a:accent5>
    <a:accent6>
      <a:srgbClr val="555353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FFC500"/>
    </a:accent1>
    <a:accent2>
      <a:srgbClr val="462804"/>
    </a:accent2>
    <a:accent3>
      <a:srgbClr val="FFDD8C"/>
    </a:accent3>
    <a:accent4>
      <a:srgbClr val="888785"/>
    </a:accent4>
    <a:accent5>
      <a:srgbClr val="71716F"/>
    </a:accent5>
    <a:accent6>
      <a:srgbClr val="555353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82</Words>
  <Application>Microsoft Office PowerPoint</Application>
  <PresentationFormat>Widescreen</PresentationFormat>
  <Paragraphs>20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Impact</vt:lpstr>
      <vt:lpstr>主题5</vt:lpstr>
      <vt:lpstr>think-cell Slide</vt:lpstr>
      <vt:lpstr>iSlide® PowerPoint standard template</vt:lpstr>
      <vt:lpstr>PowerPoint Presentation</vt:lpstr>
      <vt:lpstr>Section Header Here</vt:lpstr>
      <vt:lpstr>Use "Title Only" Layout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; iSlide;add-in;plugin;CloudEuropeNL,</dc:title>
  <dc:subject>Yellow Financial iSlide PPT template free by CloudEuropeNL</dc:subject>
  <dc:creator>iSlide;CloudEurope - Ben Oostdam</dc:creator>
  <cp:lastModifiedBy>Ben Oostdam ☁</cp:lastModifiedBy>
  <cp:revision>2</cp:revision>
  <cp:lastPrinted>2018-08-06T16:00:00Z</cp:lastPrinted>
  <dcterms:created xsi:type="dcterms:W3CDTF">2018-08-06T16:00:00Z</dcterms:created>
  <dcterms:modified xsi:type="dcterms:W3CDTF">2023-04-04T07:52:26Z</dcterms:modified>
  <cp:version>1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